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12"/>
  </p:notesMasterIdLst>
  <p:sldIdLst>
    <p:sldId id="397" r:id="rId2"/>
    <p:sldId id="402" r:id="rId3"/>
    <p:sldId id="399" r:id="rId4"/>
    <p:sldId id="403" r:id="rId5"/>
    <p:sldId id="392" r:id="rId6"/>
    <p:sldId id="404" r:id="rId7"/>
    <p:sldId id="400" r:id="rId8"/>
    <p:sldId id="405" r:id="rId9"/>
    <p:sldId id="401" r:id="rId10"/>
    <p:sldId id="406" r:id="rId11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92798" autoAdjust="0"/>
  </p:normalViewPr>
  <p:slideViewPr>
    <p:cSldViewPr snapToGrid="0">
      <p:cViewPr>
        <p:scale>
          <a:sx n="135" d="100"/>
          <a:sy n="135" d="100"/>
        </p:scale>
        <p:origin x="90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divyabastola/Downloads/Southern%20Water%20Corp%20Economics%20Case%20Study%20MCU%20Student%20Facing%2030052020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Average Water Balancing</a:t>
            </a:r>
            <a:r>
              <a:rPr lang="en-AU" b="1" baseline="0"/>
              <a:t> Market Price vs. Market Demand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What-If Analysis'!$B$14</c:f>
              <c:strCache>
                <c:ptCount val="1"/>
                <c:pt idx="0">
                  <c:v>Market Water Demand (Mega-Litres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val>
            <c:numRef>
              <c:f>'What-If Analysis'!$E$14:$P$14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0E-47E8-BC0D-88AA7FA06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510375824"/>
        <c:axId val="510369920"/>
      </c:barChart>
      <c:lineChart>
        <c:grouping val="standard"/>
        <c:varyColors val="0"/>
        <c:ser>
          <c:idx val="0"/>
          <c:order val="0"/>
          <c:tx>
            <c:strRef>
              <c:f>'What-If Analysis'!$B$13</c:f>
              <c:strCache>
                <c:ptCount val="1"/>
                <c:pt idx="0">
                  <c:v>Average Water Balancing Market Price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What-If Analysis'!$E$11:$P$11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What-If Analysis'!$E$13:$P$13</c:f>
              <c:numCache>
                <c:formatCode>"$"#,##0.00_);[Red]\("$"#,##0.00\)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0E-47E8-BC0D-88AA7FA06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8324128"/>
        <c:axId val="578329376"/>
      </c:lineChart>
      <c:dateAx>
        <c:axId val="57832412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9376"/>
        <c:crosses val="autoZero"/>
        <c:auto val="1"/>
        <c:lblOffset val="100"/>
        <c:baseTimeUnit val="months"/>
      </c:dateAx>
      <c:valAx>
        <c:axId val="578329376"/>
        <c:scaling>
          <c:orientation val="minMax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4128"/>
        <c:crosses val="autoZero"/>
        <c:crossBetween val="between"/>
      </c:valAx>
      <c:valAx>
        <c:axId val="510369920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0375824"/>
        <c:crosses val="max"/>
        <c:crossBetween val="between"/>
      </c:valAx>
      <c:catAx>
        <c:axId val="510375824"/>
        <c:scaling>
          <c:orientation val="minMax"/>
        </c:scaling>
        <c:delete val="1"/>
        <c:axPos val="b"/>
        <c:majorTickMark val="out"/>
        <c:minorTickMark val="none"/>
        <c:tickLblPos val="nextTo"/>
        <c:crossAx val="510369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0"/>
              <a:t>Hardwater and Soft Water Vs</a:t>
            </a:r>
            <a:r>
              <a:rPr lang="en-US" b="0" baseline="0"/>
              <a:t> Price</a:t>
            </a:r>
            <a:endParaRPr lang="en-US" b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Economic Market Analysis'!$C$15:$N$15</c:f>
              <c:numCache>
                <c:formatCode>"$"#,##0.0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Economic Market Analysis'!$C$16:$N$16</c:f>
              <c:numCache>
                <c:formatCode>_(* #,##0.00_);_(* \(#,##0.00\);_(* "-"??_);_(@_)</c:formatCode>
                <c:ptCount val="12"/>
                <c:pt idx="0" formatCode="0.0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2E1-1F4F-9244-11A5E1678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35017408"/>
        <c:axId val="1335019504"/>
      </c:scatterChart>
      <c:valAx>
        <c:axId val="1335017408"/>
        <c:scaling>
          <c:orientation val="minMax"/>
          <c:min val="7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5019504"/>
        <c:crosses val="autoZero"/>
        <c:crossBetween val="midCat"/>
      </c:valAx>
      <c:valAx>
        <c:axId val="1335019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50174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ardwater Demand Vs Price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Economic Market Analysis'!$C$18:$N$18</c:f>
              <c:numCache>
                <c:formatCode>"$"#,##0.00</c:formatCode>
                <c:ptCount val="12"/>
                <c:pt idx="0">
                  <c:v>110.48381542382315</c:v>
                </c:pt>
                <c:pt idx="1">
                  <c:v>110.62720422979757</c:v>
                </c:pt>
                <c:pt idx="2">
                  <c:v>110.55818806730868</c:v>
                </c:pt>
                <c:pt idx="3">
                  <c:v>93.17518584656078</c:v>
                </c:pt>
                <c:pt idx="4">
                  <c:v>93.408910429176501</c:v>
                </c:pt>
                <c:pt idx="5">
                  <c:v>92.851211447811423</c:v>
                </c:pt>
                <c:pt idx="6">
                  <c:v>92.809567652329747</c:v>
                </c:pt>
                <c:pt idx="7">
                  <c:v>93.14548020527856</c:v>
                </c:pt>
                <c:pt idx="8">
                  <c:v>92.989220833333306</c:v>
                </c:pt>
                <c:pt idx="9">
                  <c:v>92.823577188940064</c:v>
                </c:pt>
                <c:pt idx="10">
                  <c:v>93.029854347041791</c:v>
                </c:pt>
                <c:pt idx="11">
                  <c:v>93.232935483870918</c:v>
                </c:pt>
              </c:numCache>
            </c:numRef>
          </c:xVal>
          <c:yVal>
            <c:numRef>
              <c:f>'Economic Market Analysis'!$C$19:$N$19</c:f>
              <c:numCache>
                <c:formatCode>#,##0.00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4CA-224C-ACEB-3110938941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4988144"/>
        <c:axId val="1403813872"/>
      </c:scatterChart>
      <c:valAx>
        <c:axId val="13249881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3813872"/>
        <c:crosses val="autoZero"/>
        <c:crossBetween val="midCat"/>
      </c:valAx>
      <c:valAx>
        <c:axId val="1403813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49881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ft Water </a:t>
            </a:r>
            <a:r>
              <a:rPr lang="en-US" sz="1400" b="0" i="0" u="none" strike="noStrike" baseline="0">
                <a:effectLst/>
              </a:rPr>
              <a:t>Demand Vs Price </a:t>
            </a:r>
            <a:r>
              <a:rPr lang="en-US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Economic Market Analysis'!$C$21:$N$21</c:f>
              <c:numCache>
                <c:formatCode>"$"#,##0.0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Economic Market Analysis'!$C$22:$N$22</c:f>
              <c:numCache>
                <c:formatCode>#,##0.00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283-6E42-A2DF-E15546B76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5741408"/>
        <c:axId val="1406569664"/>
      </c:scatterChart>
      <c:valAx>
        <c:axId val="1355741408"/>
        <c:scaling>
          <c:orientation val="minMax"/>
          <c:min val="47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6569664"/>
        <c:crosses val="autoZero"/>
        <c:crossBetween val="midCat"/>
      </c:valAx>
      <c:valAx>
        <c:axId val="14065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57414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arket Water Demand (Giga-Litres) </a:t>
            </a:r>
            <a:r>
              <a:rPr lang="en-US" sz="1400" b="0" i="0" u="none" strike="noStrike" baseline="0">
                <a:effectLst/>
              </a:rPr>
              <a:t>Demand Vs Price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Water Trading Repository Table'!$H$1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Water Trading Repository Table'!$G$2:$G$1462</c:f>
              <c:numCache>
                <c:formatCode>"$"#,##0.00</c:formatCode>
                <c:ptCount val="1461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'Water Trading Repository Table'!$H$2:$H$1462</c:f>
              <c:numCache>
                <c:formatCode>0.00</c:formatCode>
                <c:ptCount val="1461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DBA-0E43-8B72-56E63F2915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5769088"/>
        <c:axId val="1326216512"/>
      </c:scatterChart>
      <c:valAx>
        <c:axId val="13257690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6216512"/>
        <c:crosses val="autoZero"/>
        <c:crossBetween val="midCat"/>
      </c:valAx>
      <c:valAx>
        <c:axId val="1326216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57690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ard Water Demand (Giga-Litres) </a:t>
            </a:r>
            <a:r>
              <a:rPr lang="en-US" sz="1400" b="0" i="0" u="none" strike="noStrike" baseline="0">
                <a:effectLst/>
              </a:rPr>
              <a:t>Demand Vs Price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Water Trading Repository Table'!$K$1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Water Trading Repository Table'!$J$2:$J$1462</c:f>
              <c:numCache>
                <c:formatCode>"$"#,##0.00</c:formatCode>
                <c:ptCount val="1461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'Water Trading Repository Table'!$K$2:$K$1462</c:f>
              <c:numCache>
                <c:formatCode>0.00</c:formatCode>
                <c:ptCount val="1461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C62-B841-AC80-FCBF062864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5827360"/>
        <c:axId val="1365357072"/>
      </c:scatterChart>
      <c:valAx>
        <c:axId val="1365827360"/>
        <c:scaling>
          <c:orientation val="minMax"/>
          <c:min val="8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5357072"/>
        <c:crosses val="autoZero"/>
        <c:crossBetween val="midCat"/>
      </c:valAx>
      <c:valAx>
        <c:axId val="1365357072"/>
        <c:scaling>
          <c:orientation val="minMax"/>
          <c:min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58273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ft Water Demand (Giga-Litres) </a:t>
            </a:r>
            <a:r>
              <a:rPr lang="en-US" sz="1400" b="0" i="0" u="none" strike="noStrike" baseline="0">
                <a:effectLst/>
              </a:rPr>
              <a:t>Demand Vs Price 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Water Trading Repository Table'!$O$1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Water Trading Repository Table'!$N$2:$N$1462</c:f>
              <c:numCache>
                <c:formatCode>"$"#,##0.00</c:formatCode>
                <c:ptCount val="1461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</c:numCache>
            </c:numRef>
          </c:xVal>
          <c:yVal>
            <c:numRef>
              <c:f>'Water Trading Repository Table'!$O$2:$O$1462</c:f>
              <c:numCache>
                <c:formatCode>0.00</c:formatCode>
                <c:ptCount val="1461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46A-EC43-AA99-037288EFE6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5908208"/>
        <c:axId val="1356277984"/>
      </c:scatterChart>
      <c:valAx>
        <c:axId val="1355908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6277984"/>
        <c:crosses val="autoZero"/>
        <c:crossBetween val="midCat"/>
      </c:valAx>
      <c:valAx>
        <c:axId val="1356277984"/>
        <c:scaling>
          <c:orientation val="minMax"/>
          <c:min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59082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venue after the outag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333464566929133"/>
          <c:y val="0.16708333333333336"/>
          <c:w val="0.74222090988626421"/>
          <c:h val="0.7311574074074074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208-9B47-9F5A-29A747B27A2E}"/>
              </c:ext>
            </c:extLst>
          </c:dPt>
          <c:cat>
            <c:strRef>
              <c:f>'What-If Analysis'!$D$60:$D$63</c:f>
              <c:strCache>
                <c:ptCount val="4"/>
                <c:pt idx="0">
                  <c:v>Q1 Outage</c:v>
                </c:pt>
                <c:pt idx="1">
                  <c:v>Q2 Outage</c:v>
                </c:pt>
                <c:pt idx="2">
                  <c:v>Q3 Outage</c:v>
                </c:pt>
                <c:pt idx="3">
                  <c:v>Q4 Outage</c:v>
                </c:pt>
              </c:strCache>
            </c:strRef>
          </c:cat>
          <c:val>
            <c:numRef>
              <c:f>'What-If Analysis'!$Q$60:$Q$63</c:f>
              <c:numCache>
                <c:formatCode>"$"#,##0.00;[Red]\-"$"#,##0.00</c:formatCode>
                <c:ptCount val="4"/>
                <c:pt idx="0">
                  <c:v>141675660.03799999</c:v>
                </c:pt>
                <c:pt idx="1">
                  <c:v>153195448.35699999</c:v>
                </c:pt>
                <c:pt idx="2">
                  <c:v>154187083.64099997</c:v>
                </c:pt>
                <c:pt idx="3">
                  <c:v>157707855.47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08-9B47-9F5A-29A747B27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88186047"/>
        <c:axId val="494382831"/>
      </c:barChart>
      <c:catAx>
        <c:axId val="488186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382831"/>
        <c:crosses val="autoZero"/>
        <c:auto val="1"/>
        <c:lblAlgn val="ctr"/>
        <c:lblOffset val="100"/>
        <c:noMultiLvlLbl val="0"/>
      </c:catAx>
      <c:valAx>
        <c:axId val="4943828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81860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 Average WBMP</a:t>
            </a:r>
            <a:r>
              <a:rPr lang="en-US" b="1" baseline="0"/>
              <a:t> and Market Water Demand 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What-If Analysis'!$E$15:$P$15</c:f>
              <c:numCache>
                <c:formatCode>"$"#,##0.00;[Red]\-"$"#,##0.00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DD-C647-9444-39A682752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454431"/>
        <c:axId val="127298671"/>
      </c:barChart>
      <c:lineChart>
        <c:grouping val="standard"/>
        <c:varyColors val="0"/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What-If Analysis'!$E$13:$P$13</c:f>
              <c:numCache>
                <c:formatCode>mmm\-yy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</c:numRef>
          </c:cat>
          <c:val>
            <c:numRef>
              <c:f>'What-If Analysis'!$E$16:$P$16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DD-C647-9444-39A682752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3737024"/>
        <c:axId val="2133777520"/>
      </c:lineChart>
      <c:dateAx>
        <c:axId val="213373702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3777520"/>
        <c:crosses val="autoZero"/>
        <c:auto val="1"/>
        <c:lblOffset val="100"/>
        <c:baseTimeUnit val="months"/>
      </c:dateAx>
      <c:valAx>
        <c:axId val="2133777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3737024"/>
        <c:crosses val="autoZero"/>
        <c:crossBetween val="between"/>
      </c:valAx>
      <c:valAx>
        <c:axId val="127298671"/>
        <c:scaling>
          <c:orientation val="minMax"/>
        </c:scaling>
        <c:delete val="0"/>
        <c:axPos val="r"/>
        <c:numFmt formatCode="&quot;$&quot;#,##0.00;[Red]\-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454431"/>
        <c:crosses val="max"/>
        <c:crossBetween val="between"/>
      </c:valAx>
      <c:catAx>
        <c:axId val="127454431"/>
        <c:scaling>
          <c:orientation val="minMax"/>
        </c:scaling>
        <c:delete val="1"/>
        <c:axPos val="b"/>
        <c:majorTickMark val="out"/>
        <c:minorTickMark val="none"/>
        <c:tickLblPos val="nextTo"/>
        <c:crossAx val="1272986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Cost</a:t>
            </a:r>
            <a:r>
              <a:rPr lang="en-AU" b="1" baseline="0"/>
              <a:t> to Produce vs. WBMP Market Price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conomic Cost Analysis'!$B$221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22:$A$22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2:$B$224</c:f>
              <c:numCache>
                <c:formatCode>"$"#,##0.00_);[Red]\("$"#,##0.00\)</c:formatCode>
                <c:ptCount val="3"/>
                <c:pt idx="0" formatCode="&quot;$&quot;#,##0.00;[Red]\-&quot;$&quot;#,##0.00\ &quot;$/ML&quot;">
                  <c:v>25.001374005209875</c:v>
                </c:pt>
                <c:pt idx="1">
                  <c:v>54.231506516209812</c:v>
                </c:pt>
                <c:pt idx="2">
                  <c:v>35.80418919825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F-458A-A38D-75B690F46F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350880"/>
        <c:axId val="506355800"/>
      </c:barChart>
      <c:lineChart>
        <c:grouping val="standard"/>
        <c:varyColors val="0"/>
        <c:ser>
          <c:idx val="1"/>
          <c:order val="1"/>
          <c:tx>
            <c:strRef>
              <c:f>'Economic Cost Analysis'!$C$221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38100" cap="rnd">
              <a:solidFill>
                <a:schemeClr val="bg2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Economic Cost Analysis'!$A$222:$A$22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22:$C$224</c:f>
              <c:numCache>
                <c:formatCode>"$"#,##0.00_);[Red]\("$"#,##0.00\)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F-458A-A38D-75B690F46F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6350880"/>
        <c:axId val="506355800"/>
      </c:lineChart>
      <c:catAx>
        <c:axId val="506350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6355800"/>
        <c:crosses val="autoZero"/>
        <c:auto val="1"/>
        <c:lblAlgn val="ctr"/>
        <c:lblOffset val="100"/>
        <c:noMultiLvlLbl val="0"/>
      </c:catAx>
      <c:valAx>
        <c:axId val="506355800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350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 Cost to</a:t>
            </a:r>
            <a:r>
              <a:rPr lang="en-US" baseline="0"/>
              <a:t> Produce vs Kootha, Surjek, and 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conomic Cost Analysis'!$E$22</c:f>
              <c:strCache>
                <c:ptCount val="1"/>
                <c:pt idx="0">
                  <c:v>Kootha Desalination Cost to Produce ($/ML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886-B748-9173-A6A587CB1BFF}"/>
            </c:ext>
          </c:extLst>
        </c:ser>
        <c:ser>
          <c:idx val="1"/>
          <c:order val="1"/>
          <c:tx>
            <c:strRef>
              <c:f>'Economic Cost Analysis'!$E$33</c:f>
              <c:strCache>
                <c:ptCount val="1"/>
                <c:pt idx="0">
                  <c:v>Surjek Desalination Cost to Produce ($/ML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86-B748-9173-A6A587CB1BFF}"/>
            </c:ext>
          </c:extLst>
        </c:ser>
        <c:ser>
          <c:idx val="2"/>
          <c:order val="2"/>
          <c:tx>
            <c:strRef>
              <c:f>'Economic Cost Analysis'!$E$44</c:f>
              <c:strCache>
                <c:ptCount val="1"/>
                <c:pt idx="0">
                  <c:v>Jutik Desalination Cost to Produce ($/ML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886-B748-9173-A6A587CB1BFF}"/>
            </c:ext>
          </c:extLst>
        </c:ser>
        <c:ser>
          <c:idx val="3"/>
          <c:order val="3"/>
          <c:tx>
            <c:strRef>
              <c:f>'Economic Cost Analysis'!$E$60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ln w="666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conomic Cost Analysis'!$G$60:$R$60</c:f>
              <c:numCache>
                <c:formatCode>"$"#,##0.00;[Red]\-"$"#,##0.00</c:formatCode>
                <c:ptCount val="12"/>
                <c:pt idx="0">
                  <c:v>35.4895180180268</c:v>
                </c:pt>
                <c:pt idx="1">
                  <c:v>40.083392414844866</c:v>
                </c:pt>
                <c:pt idx="2">
                  <c:v>43.723249193160832</c:v>
                </c:pt>
                <c:pt idx="3">
                  <c:v>48.886636356341938</c:v>
                </c:pt>
                <c:pt idx="4">
                  <c:v>56.088102230227392</c:v>
                </c:pt>
                <c:pt idx="5">
                  <c:v>39.044842053719009</c:v>
                </c:pt>
                <c:pt idx="6">
                  <c:v>38.918514174055339</c:v>
                </c:pt>
                <c:pt idx="7">
                  <c:v>41.543319627670584</c:v>
                </c:pt>
                <c:pt idx="8">
                  <c:v>35.585926820374347</c:v>
                </c:pt>
                <c:pt idx="9">
                  <c:v>35.928208360416363</c:v>
                </c:pt>
                <c:pt idx="10">
                  <c:v>41.013913758286819</c:v>
                </c:pt>
                <c:pt idx="11">
                  <c:v>37.418278653587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886-B748-9173-A6A587CB1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530559"/>
        <c:axId val="91920239"/>
      </c:lineChart>
      <c:dateAx>
        <c:axId val="2553055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920239"/>
        <c:crosses val="autoZero"/>
        <c:auto val="1"/>
        <c:lblOffset val="100"/>
        <c:baseTimeUnit val="months"/>
      </c:dateAx>
      <c:valAx>
        <c:axId val="91920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30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st</a:t>
            </a:r>
            <a:r>
              <a:rPr lang="en-US" b="1" baseline="0"/>
              <a:t> to Produce vs WBMP Market Price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7:$B$229</c:f>
              <c:numCache>
                <c:formatCode>"$"#,##0.00;[Red]\-"$"#,##0.00\ "$/ML"</c:formatCode>
                <c:ptCount val="3"/>
                <c:pt idx="0">
                  <c:v>25.001374005209883</c:v>
                </c:pt>
                <c:pt idx="1">
                  <c:v>54.231506516209798</c:v>
                </c:pt>
                <c:pt idx="2" formatCode="&quot;$&quot;#,##0.00;[Red]\-&quot;$&quot;#,##0.00">
                  <c:v>35.80418919825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27-4F46-99D4-1C00B2949C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27349119"/>
        <c:axId val="127350767"/>
      </c:barChart>
      <c:lineChart>
        <c:grouping val="standard"/>
        <c:varyColors val="0"/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conomic Cost Analysis'!$C$227:$C$229</c:f>
              <c:numCache>
                <c:formatCode>"$"#,##0.00;[Red]\-"$"#,##0.00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27-4F46-99D4-1C00B2949C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349119"/>
        <c:axId val="127350767"/>
      </c:lineChart>
      <c:catAx>
        <c:axId val="127349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350767"/>
        <c:crosses val="autoZero"/>
        <c:auto val="1"/>
        <c:lblAlgn val="ctr"/>
        <c:lblOffset val="100"/>
        <c:noMultiLvlLbl val="0"/>
      </c:catAx>
      <c:valAx>
        <c:axId val="1273507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349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>
                <a:effectLst/>
              </a:rPr>
              <a:t>Kootha Scatter plot(Cost to Produce vs Volume of water produced)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21:$R$21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xVal>
          <c:y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097</c:v>
                </c:pt>
                <c:pt idx="1">
                  <c:v>25.492172623052561</c:v>
                </c:pt>
                <c:pt idx="2">
                  <c:v>20.246430814356369</c:v>
                </c:pt>
                <c:pt idx="3">
                  <c:v>18.538208897820557</c:v>
                </c:pt>
                <c:pt idx="4">
                  <c:v>37.173188734592117</c:v>
                </c:pt>
                <c:pt idx="5">
                  <c:v>18.926571259334377</c:v>
                </c:pt>
                <c:pt idx="6">
                  <c:v>28.088710165040506</c:v>
                </c:pt>
                <c:pt idx="7">
                  <c:v>27.869870996564565</c:v>
                </c:pt>
                <c:pt idx="8">
                  <c:v>23.038875551690033</c:v>
                </c:pt>
                <c:pt idx="9">
                  <c:v>25.83514265328515</c:v>
                </c:pt>
                <c:pt idx="10">
                  <c:v>27.720966236714666</c:v>
                </c:pt>
                <c:pt idx="11">
                  <c:v>37.5425260650458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843-4046-A01B-95F85E927C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731695"/>
        <c:axId val="111720207"/>
      </c:scatterChart>
      <c:valAx>
        <c:axId val="44731695"/>
        <c:scaling>
          <c:orientation val="minMax"/>
          <c:min val="9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720207"/>
        <c:crosses val="autoZero"/>
        <c:crossBetween val="midCat"/>
      </c:valAx>
      <c:valAx>
        <c:axId val="111720207"/>
        <c:scaling>
          <c:orientation val="minMax"/>
          <c:min val="1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73169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 </a:t>
            </a:r>
            <a:r>
              <a:rPr lang="en-US" sz="1800" b="0" i="0" baseline="0">
                <a:effectLst/>
              </a:rPr>
              <a:t>Surjek Scatter plot(Cost to Produce vs Volume of water produced)</a:t>
            </a:r>
            <a:endParaRPr lang="en-US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32:$R$32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xVal>
          <c:y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FE-1649-B89C-1483AD7563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1795871"/>
        <c:axId val="92049471"/>
      </c:scatterChart>
      <c:valAx>
        <c:axId val="91795871"/>
        <c:scaling>
          <c:orientation val="minMax"/>
          <c:min val="2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049471"/>
        <c:crosses val="autoZero"/>
        <c:crossBetween val="midCat"/>
      </c:valAx>
      <c:valAx>
        <c:axId val="92049471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79587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>
                <a:effectLst/>
              </a:rPr>
              <a:t>Jutik Scatter plot(Cost to Produce vs Volume of water produced)</a:t>
            </a:r>
            <a:endParaRPr lang="en-US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'!$G$43:$R$43</c:f>
              <c:numCache>
                <c:formatCode>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xVal>
          <c:y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DB7-F54D-9C2A-7737E588BF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172287"/>
        <c:axId val="91802175"/>
      </c:scatterChart>
      <c:valAx>
        <c:axId val="117172287"/>
        <c:scaling>
          <c:orientation val="minMax"/>
          <c:min val="14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802175"/>
        <c:crosses val="autoZero"/>
        <c:crossBetween val="midCat"/>
      </c:valAx>
      <c:valAx>
        <c:axId val="91802175"/>
        <c:scaling>
          <c:orientation val="minMax"/>
          <c:min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172287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2/3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22.03% reduction in </a:t>
            </a:r>
            <a:r>
              <a:rPr lang="en-GB" sz="1200" b="1" dirty="0" err="1"/>
              <a:t>Surjek’s</a:t>
            </a:r>
            <a:r>
              <a:rPr lang="en-GB" sz="1200" b="1" dirty="0"/>
              <a:t> Revenues ($</a:t>
            </a:r>
            <a:r>
              <a:rPr lang="en-US" sz="1200" b="1" dirty="0"/>
              <a:t>202,255,349.17</a:t>
            </a:r>
            <a:r>
              <a:rPr lang="en-GB" sz="1200" b="1" dirty="0"/>
              <a:t>M) due to the Maintenance Outage, Quarter 4 presents the best balance of revenue-loss mitigation with respect to market pricing, as opposed to Quarter 1 which represents the highest demand (</a:t>
            </a:r>
            <a:r>
              <a:rPr lang="en-US" sz="1200" b="1" dirty="0"/>
              <a:t>2,273.07 </a:t>
            </a:r>
            <a:r>
              <a:rPr lang="en-GB" sz="1200" b="1" dirty="0"/>
              <a:t>GL) and Water Balancing Market Prices $84.84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C19C994-9521-4621-BDD8-A81FFDF8F3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6095008"/>
              </p:ext>
            </p:extLst>
          </p:nvPr>
        </p:nvGraphicFramePr>
        <p:xfrm>
          <a:off x="4480719" y="1118547"/>
          <a:ext cx="4109640" cy="509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8D41DE5-8C4C-43CA-9432-43E7654D7C5A}"/>
              </a:ext>
            </a:extLst>
          </p:cNvPr>
          <p:cNvSpPr/>
          <p:nvPr/>
        </p:nvSpPr>
        <p:spPr>
          <a:xfrm>
            <a:off x="303213" y="1238975"/>
            <a:ext cx="366553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rst slide we want to show is our overall conclusion regarding which Quarter we should perform the Maintenance Outage in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quarterly revenue (Q1,Q2,Q3,Q4)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combo-chart, create a chart which shows the 12-Monthly Water Market Demand and Average Water Balancing Price(s) using the data from the Water Data Repository Table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your chart should clearly show-case which Quarter you are recommending for the maintenance outage. (Feel free to highlight the Column you want the reader to focus on) </a:t>
            </a:r>
          </a:p>
          <a:p>
            <a:endParaRPr lang="en-AU" sz="1200" b="1" dirty="0"/>
          </a:p>
          <a:p>
            <a:r>
              <a:rPr lang="en-AU" sz="1200" b="1" dirty="0"/>
              <a:t>Hint: The Charts you’ve created for the What-If Tab, Q9 and Q11 may be helpful. We’ve included an example on the right for the Combo-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7B3234E-788D-BD42-9249-4588184F4B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0485953"/>
              </p:ext>
            </p:extLst>
          </p:nvPr>
        </p:nvGraphicFramePr>
        <p:xfrm>
          <a:off x="1426647" y="0"/>
          <a:ext cx="6539002" cy="2922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7863B7A-D310-2844-96D7-569C24CFA7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9825248"/>
              </p:ext>
            </p:extLst>
          </p:nvPr>
        </p:nvGraphicFramePr>
        <p:xfrm>
          <a:off x="1426647" y="3063875"/>
          <a:ext cx="6539002" cy="2582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95012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EEBF18E-140B-574C-84EE-870E1B9760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0413029"/>
              </p:ext>
            </p:extLst>
          </p:nvPr>
        </p:nvGraphicFramePr>
        <p:xfrm>
          <a:off x="1977902" y="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E11870D-5505-EA47-B442-DDCF065B37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7674235"/>
              </p:ext>
            </p:extLst>
          </p:nvPr>
        </p:nvGraphicFramePr>
        <p:xfrm>
          <a:off x="815523" y="2969443"/>
          <a:ext cx="7574334" cy="2922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2054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$25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5.80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54.23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9374B13C-CC83-4511-A430-D203A54166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2992744"/>
              </p:ext>
            </p:extLst>
          </p:nvPr>
        </p:nvGraphicFramePr>
        <p:xfrm>
          <a:off x="4540250" y="1130935"/>
          <a:ext cx="4219574" cy="5325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5136C0F-6251-49D7-A7E6-166D4D8B5A9E}"/>
              </a:ext>
            </a:extLst>
          </p:cNvPr>
          <p:cNvSpPr/>
          <p:nvPr/>
        </p:nvSpPr>
        <p:spPr>
          <a:xfrm>
            <a:off x="303213" y="1238975"/>
            <a:ext cx="366553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second slide we want to show is our overall conclusion regarding how cost-effective the Desalination Units are (i.e. Kootha, Surjek and Jutik) when compared to the Overall Water Market Balancing Pric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You may want to show a Macro View followed by a Micro View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Overall Cost to Produce for Kootha, Surjek and Jutik compared against the Overall Desalination Cost to Produce ($/ML). This is the macro view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line-chart, trend the monthly Cost to Produce for: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Kootha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Sujre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Jutik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Kootha + Surjek + Jutik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s you’ve created for the Economic Cost Analysis Tab, Q5 and Q8 may be helpful. We’ve included an example on the right for the Column 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C337C-1CFB-CA4A-AD47-C9FF631DD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555F8E3-2B62-AF49-B98E-DABC87A3C0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1006357"/>
              </p:ext>
            </p:extLst>
          </p:nvPr>
        </p:nvGraphicFramePr>
        <p:xfrm>
          <a:off x="503745" y="630678"/>
          <a:ext cx="7821971" cy="2858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EB77F58-EC17-B542-8708-1D01351754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8402998"/>
              </p:ext>
            </p:extLst>
          </p:nvPr>
        </p:nvGraphicFramePr>
        <p:xfrm>
          <a:off x="999031" y="3751279"/>
          <a:ext cx="7192862" cy="2858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764334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what economic principles indicates costs declining with volume?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FB55E80-72B6-4994-8552-223A758DA182}"/>
              </a:ext>
            </a:extLst>
          </p:cNvPr>
          <p:cNvSpPr/>
          <p:nvPr/>
        </p:nvSpPr>
        <p:spPr>
          <a:xfrm>
            <a:off x="303213" y="1238975"/>
            <a:ext cx="2458841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third slide we want to show is our overall conclusion regarding the economic relationship between price and quantities for each of the three plants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Create three chart(s), which show the Cost to Produce vs. the Quantity of Water Produced for each Desalination Plant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we are </a:t>
            </a:r>
            <a:r>
              <a:rPr lang="en-AU" sz="1200" b="1" i="1" dirty="0"/>
              <a:t>comparing </a:t>
            </a:r>
            <a:r>
              <a:rPr lang="en-AU" sz="1200" b="1" dirty="0"/>
              <a:t>each point using a scatter-plot graphic.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Cost Analysis, Q6, may be helpful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D5E33CA-5377-C546-A82A-00B657076B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2387622"/>
              </p:ext>
            </p:extLst>
          </p:nvPr>
        </p:nvGraphicFramePr>
        <p:xfrm>
          <a:off x="2762055" y="1687418"/>
          <a:ext cx="5848546" cy="31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5FD8A28-6735-C346-AD14-62918FF5B1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9501410"/>
              </p:ext>
            </p:extLst>
          </p:nvPr>
        </p:nvGraphicFramePr>
        <p:xfrm>
          <a:off x="1388902" y="88226"/>
          <a:ext cx="5655734" cy="2559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50DB91A-48CB-A54B-A7DF-68F978F8FE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650788"/>
              </p:ext>
            </p:extLst>
          </p:nvPr>
        </p:nvGraphicFramePr>
        <p:xfrm>
          <a:off x="1315004" y="2986224"/>
          <a:ext cx="6331429" cy="2577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12600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Soft Water tends to be relatively price &lt;elastic?&gt; regardless of quantity purchased, whilst Hard water is more representative of an &lt;inelastic?&gt;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3E2A6C54-03E1-4BB5-8A12-2A2E4DFCFAB7}"/>
              </a:ext>
            </a:extLst>
          </p:cNvPr>
          <p:cNvSpPr/>
          <p:nvPr/>
        </p:nvSpPr>
        <p:spPr>
          <a:xfrm>
            <a:off x="303213" y="1238974"/>
            <a:ext cx="2204317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ourth slide we want to show is our overall conclusion regarding the economic principles of elasticity for our individual water products at a macro-level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2, may be helpful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85E6EE-1962-894E-8CD4-DC45B12873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5640131"/>
              </p:ext>
            </p:extLst>
          </p:nvPr>
        </p:nvGraphicFramePr>
        <p:xfrm>
          <a:off x="2559225" y="1238974"/>
          <a:ext cx="6402213" cy="3568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146D2D6-5C48-094A-B2B5-76DF6631CB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865076"/>
              </p:ext>
            </p:extLst>
          </p:nvPr>
        </p:nvGraphicFramePr>
        <p:xfrm>
          <a:off x="1177336" y="116328"/>
          <a:ext cx="6298120" cy="2476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8BFB2BA-F7A0-CE4B-AD43-B158BAD97B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038511"/>
              </p:ext>
            </p:extLst>
          </p:nvPr>
        </p:nvGraphicFramePr>
        <p:xfrm>
          <a:off x="1177336" y="3120272"/>
          <a:ext cx="6298120" cy="3007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89916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&lt;Soft Water?&gt; is seen as more of a ‘less core’ product than that of &lt;Hard Water&gt; whose price remains largely &lt;inflexible?&gt;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475A4C7-409F-4219-9841-5251BF35DEB9}"/>
              </a:ext>
            </a:extLst>
          </p:cNvPr>
          <p:cNvSpPr/>
          <p:nvPr/>
        </p:nvSpPr>
        <p:spPr>
          <a:xfrm>
            <a:off x="303213" y="1238975"/>
            <a:ext cx="366553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fth and final slide we want to show is our overall conclusion regarding the economic principles of elasticity for our individual water products at a </a:t>
            </a:r>
            <a:r>
              <a:rPr lang="en-AU" sz="1200" b="1" u="sng" dirty="0"/>
              <a:t>micro level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3, may be helpful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C01E6BF-7E78-2C43-8849-E3C34EB667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8443633"/>
              </p:ext>
            </p:extLst>
          </p:nvPr>
        </p:nvGraphicFramePr>
        <p:xfrm>
          <a:off x="3818152" y="1050361"/>
          <a:ext cx="4279473" cy="271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510</TotalTime>
  <Words>993</Words>
  <Application>Microsoft Macintosh PowerPoint</Application>
  <PresentationFormat>Custom</PresentationFormat>
  <Paragraphs>5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1_Synergy_CF_YNR013</vt:lpstr>
      <vt:lpstr>think-cell Slide</vt:lpstr>
      <vt:lpstr>With a estimated 22.03% reduction in Surjek’s Revenues ($202,255,349.17M) due to the Maintenance Outage, Quarter 4 presents the best balance of revenue-loss mitigation with respect to market pricing, as opposed to Quarter 1 which represents the highest demand (2,273.07 GL) and Water Balancing Market Prices $84.84).</vt:lpstr>
      <vt:lpstr>PowerPoint Presentation</vt:lpstr>
      <vt:lpstr>Of the three Desalination Plants, all three remain profitable at current market prices by a favourable margin; Clearly Kootha is the most cost-effective $25/ML) followed by Jutik ($35.80/ML) and lastly Surjek ($54.23/ML) which is consistent across the July-2013 to June-2014 period. </vt:lpstr>
      <vt:lpstr>PowerPoint Presentation</vt:lpstr>
      <vt:lpstr>Contrasting the Cost to Produce against the Volume of Water Produced highlights clear &lt;what economic principles indicates costs declining with volume?&gt; with costs rapidly dwindling across all plants as volume surges, with this being particularly noticeable across the Kootha and Surjek Plants with costs dropping as much as 50%.  </vt:lpstr>
      <vt:lpstr>PowerPoint Presentation</vt:lpstr>
      <vt:lpstr>Drilling down further from a product-perspective, reveals two different patterns of elasticity where Soft Water tends to be relatively price &lt;elastic?&gt; regardless of quantity purchased, whilst Hard water is more representative of an &lt;inelastic?&gt; price-to-volume relationship.</vt:lpstr>
      <vt:lpstr>PowerPoint Presentation</vt:lpstr>
      <vt:lpstr>Lastly, when viewing the economic pricing data from an micro-perspective, it is indicative that &lt;Soft Water?&gt; is seen as more of a ‘less core’ product than that of &lt;Hard Water&gt; whose price remains largely &lt;inflexible?&gt;.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ivya.bastola20@gmail.com</cp:lastModifiedBy>
  <cp:revision>73</cp:revision>
  <dcterms:created xsi:type="dcterms:W3CDTF">2020-04-12T13:23:13Z</dcterms:created>
  <dcterms:modified xsi:type="dcterms:W3CDTF">2022-03-22T18:01:49Z</dcterms:modified>
</cp:coreProperties>
</file>